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03" autoAdjust="0"/>
    <p:restoredTop sz="94426" autoAdjust="0"/>
  </p:normalViewPr>
  <p:slideViewPr>
    <p:cSldViewPr snapToGrid="0" snapToObjects="1">
      <p:cViewPr varScale="1">
        <p:scale>
          <a:sx n="133" d="100"/>
          <a:sy n="133" d="100"/>
        </p:scale>
        <p:origin x="126" y="180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 smtClean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7/23/2016 1:10 PM Eastern Standard Time</a:t>
            </a:r>
            <a:endParaRPr lang="x-none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00" baseline="0" dirty="0" smtClean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 smtClean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 smtClean="0">
                <a:solidFill>
                  <a:srgbClr val="FFFFFF"/>
                </a:solidFill>
                <a:latin typeface="+mn-lt"/>
              </a:rPr>
              <a:t>CONFIDENTIAL AND PROPRIETARY</a:t>
            </a:r>
            <a:endParaRPr lang="x-none" sz="800" baseline="0" dirty="0">
              <a:solidFill>
                <a:srgbClr val="FFFFFF"/>
              </a:solidFill>
              <a:latin typeface="+mn-lt"/>
            </a:endParaRP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 smtClean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 smtClean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 smtClean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808080"/>
                </a:solidFill>
                <a:latin typeface="+mn-lt"/>
              </a:rPr>
              <a:t>Last Modified 7/23/2016 1:10 PM Eastern Standard Time</a:t>
            </a:r>
            <a:endParaRPr lang="en-US" sz="800" baseline="0" dirty="0" smtClean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 smtClean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CONFIDENTIALITY1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  <a:p>
            <a:pPr defTabSz="804863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Confidentiality2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.vml"/><Relationship Id="rId15" Type="http://schemas.openxmlformats.org/officeDocument/2006/relationships/tags" Target="../tags/tag31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3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917764" y="1940591"/>
            <a:ext cx="19476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7/23/2016 1:10 PM Eastern Standard Time</a:t>
            </a:r>
            <a:endParaRPr lang="x-none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dirty="0" smtClean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x-none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x-none" smtClean="0"/>
              <a:t>Click to edit Master title style</a:t>
            </a:r>
            <a:endParaRPr lang="x-none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x-none" dirty="0" smtClean="0"/>
              <a:t>Click to edit Master text styles</a:t>
            </a:r>
          </a:p>
          <a:p>
            <a:pPr lvl="1" latinLnBrk="0"/>
            <a:r>
              <a:rPr lang="x-none" dirty="0" smtClean="0"/>
              <a:t>Second level</a:t>
            </a:r>
          </a:p>
          <a:p>
            <a:pPr lvl="2" latinLnBrk="0"/>
            <a:r>
              <a:rPr lang="x-none" dirty="0" smtClean="0"/>
              <a:t>Third level</a:t>
            </a:r>
          </a:p>
          <a:p>
            <a:pPr lvl="3" latinLnBrk="0"/>
            <a:r>
              <a:rPr lang="x-none" dirty="0" smtClean="0"/>
              <a:t>Fourth level</a:t>
            </a:r>
          </a:p>
          <a:p>
            <a:pPr lvl="4" latinLnBrk="0"/>
            <a:r>
              <a:rPr lang="x-none" dirty="0" smtClean="0"/>
              <a:t>Fifth level</a:t>
            </a:r>
            <a:endParaRPr lang="x-none" dirty="0"/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917764" y="1940591"/>
            <a:ext cx="19476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7/23/2016 1:10 PM Eastern Standard Time</a:t>
            </a:r>
            <a:endParaRPr lang="x-none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00" baseline="0" dirty="0" smtClean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x-none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x-none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7917131" y="279400"/>
            <a:ext cx="763755" cy="997467"/>
            <a:chOff x="7835905" y="279400"/>
            <a:chExt cx="763755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7609323" y="279400"/>
            <a:ext cx="1071563" cy="730251"/>
            <a:chOff x="7540629" y="279400"/>
            <a:chExt cx="1071563" cy="730251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7850456" y="250825"/>
            <a:ext cx="830430" cy="1306516"/>
            <a:chOff x="7769225" y="250825"/>
            <a:chExt cx="830430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x-none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smtClean="0">
                <a:solidFill>
                  <a:srgbClr val="808080"/>
                </a:solidFill>
                <a:latin typeface="+mn-lt"/>
                <a:ea typeface="+mn-ea"/>
              </a:rPr>
              <a:t>SOURCE: </a:t>
            </a:r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52564" y="1951380"/>
            <a:ext cx="4302125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dirty="0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042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ACCENT" val="4"/>
  <p:tag name="LINE" val="2"/>
  <p:tag name="ISNEWSLIDENUMBER" val="True"/>
  <p:tag name="PREVIOUSNAME" val="Presentation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BD91DB6D-6D15-4C2C-B694-43200695CBC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6-07-23T17:10:12Z</dcterms:created>
  <dcterms:modified xsi:type="dcterms:W3CDTF">2016-07-23T17:10:32Z</dcterms:modified>
  <cp:category/>
  <cp:contentStatus/>
  <dc:language/>
  <cp:version/>
</cp:coreProperties>
</file>